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D$2:$D$280</c:f>
              <c:numCache>
                <c:formatCode>#,##0</c:formatCode>
                <c:ptCount val="27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09</c:v>
                </c:pt>
                <c:pt idx="260">
                  <c:v>101</c:v>
                </c:pt>
                <c:pt idx="261">
                  <c:v>91</c:v>
                </c:pt>
                <c:pt idx="262">
                  <c:v>75</c:v>
                </c:pt>
                <c:pt idx="263">
                  <c:v>70</c:v>
                </c:pt>
                <c:pt idx="264">
                  <c:v>67</c:v>
                </c:pt>
                <c:pt idx="265">
                  <c:v>65</c:v>
                </c:pt>
                <c:pt idx="266">
                  <c:v>61</c:v>
                </c:pt>
                <c:pt idx="267">
                  <c:v>63</c:v>
                </c:pt>
                <c:pt idx="268">
                  <c:v>58</c:v>
                </c:pt>
                <c:pt idx="269">
                  <c:v>53</c:v>
                </c:pt>
                <c:pt idx="270">
                  <c:v>42</c:v>
                </c:pt>
                <c:pt idx="271">
                  <c:v>42</c:v>
                </c:pt>
                <c:pt idx="272">
                  <c:v>45</c:v>
                </c:pt>
                <c:pt idx="273">
                  <c:v>42</c:v>
                </c:pt>
                <c:pt idx="274">
                  <c:v>39</c:v>
                </c:pt>
                <c:pt idx="275">
                  <c:v>34</c:v>
                </c:pt>
                <c:pt idx="276">
                  <c:v>26</c:v>
                </c:pt>
                <c:pt idx="277" formatCode="General">
                  <c:v>19</c:v>
                </c:pt>
                <c:pt idx="278" formatCode="General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cs-CZ" sz="1197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689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08C-4492-87BC-24229655D1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B$2:$B$280</c:f>
              <c:numCache>
                <c:formatCode>#,##0</c:formatCode>
                <c:ptCount val="27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  <c:pt idx="272">
                  <c:v>684</c:v>
                </c:pt>
                <c:pt idx="273">
                  <c:v>689</c:v>
                </c:pt>
                <c:pt idx="274">
                  <c:v>668</c:v>
                </c:pt>
                <c:pt idx="275">
                  <c:v>672</c:v>
                </c:pt>
                <c:pt idx="276">
                  <c:v>667</c:v>
                </c:pt>
                <c:pt idx="277" formatCode="General">
                  <c:v>677</c:v>
                </c:pt>
                <c:pt idx="278" formatCode="General">
                  <c:v>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C$2:$C$280</c:f>
              <c:numCache>
                <c:formatCode>#,##0</c:formatCode>
                <c:ptCount val="2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D$2:$D$280</c:f>
              <c:numCache>
                <c:formatCode>#,##0</c:formatCode>
                <c:ptCount val="27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7</c:v>
                </c:pt>
                <c:pt idx="56">
                  <c:v>2973</c:v>
                </c:pt>
                <c:pt idx="57">
                  <c:v>3036</c:v>
                </c:pt>
                <c:pt idx="58">
                  <c:v>3252</c:v>
                </c:pt>
                <c:pt idx="59">
                  <c:v>3299</c:v>
                </c:pt>
                <c:pt idx="60">
                  <c:v>3361</c:v>
                </c:pt>
                <c:pt idx="61">
                  <c:v>3444</c:v>
                </c:pt>
                <c:pt idx="62">
                  <c:v>3562</c:v>
                </c:pt>
                <c:pt idx="63">
                  <c:v>3582</c:v>
                </c:pt>
                <c:pt idx="64">
                  <c:v>3558</c:v>
                </c:pt>
                <c:pt idx="65">
                  <c:v>3486</c:v>
                </c:pt>
                <c:pt idx="66">
                  <c:v>3425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6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3</c:v>
                </c:pt>
                <c:pt idx="225">
                  <c:v>2102</c:v>
                </c:pt>
                <c:pt idx="226">
                  <c:v>1925</c:v>
                </c:pt>
                <c:pt idx="227">
                  <c:v>1778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2</c:v>
                </c:pt>
                <c:pt idx="241">
                  <c:v>1125</c:v>
                </c:pt>
                <c:pt idx="242">
                  <c:v>1129</c:v>
                </c:pt>
                <c:pt idx="243">
                  <c:v>1121</c:v>
                </c:pt>
                <c:pt idx="244">
                  <c:v>1116</c:v>
                </c:pt>
                <c:pt idx="245">
                  <c:v>1051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2</c:v>
                </c:pt>
                <c:pt idx="250">
                  <c:v>814</c:v>
                </c:pt>
                <c:pt idx="251">
                  <c:v>775</c:v>
                </c:pt>
                <c:pt idx="252">
                  <c:v>726</c:v>
                </c:pt>
                <c:pt idx="253">
                  <c:v>655</c:v>
                </c:pt>
                <c:pt idx="254">
                  <c:v>635</c:v>
                </c:pt>
                <c:pt idx="255">
                  <c:v>614</c:v>
                </c:pt>
                <c:pt idx="256">
                  <c:v>552</c:v>
                </c:pt>
                <c:pt idx="257">
                  <c:v>549</c:v>
                </c:pt>
                <c:pt idx="258">
                  <c:v>522</c:v>
                </c:pt>
                <c:pt idx="259">
                  <c:v>470</c:v>
                </c:pt>
                <c:pt idx="260">
                  <c:v>432</c:v>
                </c:pt>
                <c:pt idx="261">
                  <c:v>404</c:v>
                </c:pt>
                <c:pt idx="262">
                  <c:v>393</c:v>
                </c:pt>
                <c:pt idx="263">
                  <c:v>374</c:v>
                </c:pt>
                <c:pt idx="264">
                  <c:v>362</c:v>
                </c:pt>
                <c:pt idx="265">
                  <c:v>320</c:v>
                </c:pt>
                <c:pt idx="266">
                  <c:v>308</c:v>
                </c:pt>
                <c:pt idx="267">
                  <c:v>292</c:v>
                </c:pt>
                <c:pt idx="268">
                  <c:v>265</c:v>
                </c:pt>
                <c:pt idx="269">
                  <c:v>238</c:v>
                </c:pt>
                <c:pt idx="270">
                  <c:v>201</c:v>
                </c:pt>
                <c:pt idx="271">
                  <c:v>197</c:v>
                </c:pt>
                <c:pt idx="272">
                  <c:v>183</c:v>
                </c:pt>
                <c:pt idx="273">
                  <c:v>161</c:v>
                </c:pt>
                <c:pt idx="274">
                  <c:v>140</c:v>
                </c:pt>
                <c:pt idx="275">
                  <c:v>122</c:v>
                </c:pt>
                <c:pt idx="276" formatCode="General">
                  <c:v>111</c:v>
                </c:pt>
                <c:pt idx="277" formatCode="General">
                  <c:v>108</c:v>
                </c:pt>
                <c:pt idx="278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tx>
                <c:rich>
                  <a:bodyPr/>
                  <a:lstStyle/>
                  <a:p>
                    <a:r>
                      <a:rPr lang="en-US" dirty="0"/>
                      <a:t>6 624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7A5D-4C9D-80D2-62001862E9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B$2:$B$280</c:f>
              <c:numCache>
                <c:formatCode>#,##0</c:formatCode>
                <c:ptCount val="27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  <c:pt idx="272">
                  <c:v>6501</c:v>
                </c:pt>
                <c:pt idx="273">
                  <c:v>6337</c:v>
                </c:pt>
                <c:pt idx="274">
                  <c:v>6334</c:v>
                </c:pt>
                <c:pt idx="275">
                  <c:v>6310</c:v>
                </c:pt>
                <c:pt idx="276">
                  <c:v>6583</c:v>
                </c:pt>
                <c:pt idx="277">
                  <c:v>6583</c:v>
                </c:pt>
                <c:pt idx="278">
                  <c:v>6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C$2:$C$280</c:f>
              <c:numCache>
                <c:formatCode>#,##0</c:formatCode>
                <c:ptCount val="2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D$2:$D$280</c:f>
              <c:numCache>
                <c:formatCode>#,##0</c:formatCode>
                <c:ptCount val="27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  <c:pt idx="272">
                  <c:v>4</c:v>
                </c:pt>
                <c:pt idx="273">
                  <c:v>3</c:v>
                </c:pt>
                <c:pt idx="274">
                  <c:v>3</c:v>
                </c:pt>
                <c:pt idx="275">
                  <c:v>3</c:v>
                </c:pt>
                <c:pt idx="276" formatCode="General">
                  <c:v>2</c:v>
                </c:pt>
                <c:pt idx="277" formatCode="General">
                  <c:v>1</c:v>
                </c:pt>
                <c:pt idx="278" formatCode="General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D8E-401B-9722-1B98B91791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B$2:$B$280</c:f>
              <c:numCache>
                <c:formatCode>#,##0</c:formatCode>
                <c:ptCount val="27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  <c:pt idx="272">
                  <c:v>62</c:v>
                </c:pt>
                <c:pt idx="273">
                  <c:v>62</c:v>
                </c:pt>
                <c:pt idx="274">
                  <c:v>62</c:v>
                </c:pt>
                <c:pt idx="275">
                  <c:v>62</c:v>
                </c:pt>
                <c:pt idx="276">
                  <c:v>62</c:v>
                </c:pt>
                <c:pt idx="277">
                  <c:v>62</c:v>
                </c:pt>
                <c:pt idx="278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C$2:$C$280</c:f>
              <c:numCache>
                <c:formatCode>#,##0</c:formatCode>
                <c:ptCount val="2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D$2:$D$280</c:f>
              <c:numCache>
                <c:formatCode>#,##0</c:formatCode>
                <c:ptCount val="27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8</c:v>
                </c:pt>
                <c:pt idx="133">
                  <c:v>1174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19</c:v>
                </c:pt>
                <c:pt idx="251">
                  <c:v>425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1</c:v>
                </c:pt>
                <c:pt idx="256">
                  <c:v>308</c:v>
                </c:pt>
                <c:pt idx="257">
                  <c:v>303</c:v>
                </c:pt>
                <c:pt idx="258">
                  <c:v>295</c:v>
                </c:pt>
                <c:pt idx="259">
                  <c:v>279</c:v>
                </c:pt>
                <c:pt idx="260">
                  <c:v>249</c:v>
                </c:pt>
                <c:pt idx="261">
                  <c:v>217</c:v>
                </c:pt>
                <c:pt idx="262">
                  <c:v>190</c:v>
                </c:pt>
                <c:pt idx="263">
                  <c:v>188</c:v>
                </c:pt>
                <c:pt idx="264">
                  <c:v>186</c:v>
                </c:pt>
                <c:pt idx="265">
                  <c:v>181</c:v>
                </c:pt>
                <c:pt idx="266">
                  <c:v>161</c:v>
                </c:pt>
                <c:pt idx="267">
                  <c:v>154</c:v>
                </c:pt>
                <c:pt idx="268">
                  <c:v>143</c:v>
                </c:pt>
                <c:pt idx="269">
                  <c:v>126</c:v>
                </c:pt>
                <c:pt idx="270">
                  <c:v>110</c:v>
                </c:pt>
                <c:pt idx="271">
                  <c:v>111</c:v>
                </c:pt>
                <c:pt idx="272">
                  <c:v>116</c:v>
                </c:pt>
                <c:pt idx="273">
                  <c:v>97</c:v>
                </c:pt>
                <c:pt idx="274">
                  <c:v>89</c:v>
                </c:pt>
                <c:pt idx="275">
                  <c:v>80</c:v>
                </c:pt>
                <c:pt idx="276" formatCode="General">
                  <c:v>66</c:v>
                </c:pt>
                <c:pt idx="277" formatCode="General">
                  <c:v>54</c:v>
                </c:pt>
                <c:pt idx="278" formatCode="General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 65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22-47F4-A746-FF479723DF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B$2:$B$280</c:f>
              <c:numCache>
                <c:formatCode>#,##0</c:formatCode>
                <c:ptCount val="27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  <c:pt idx="272">
                  <c:v>1640</c:v>
                </c:pt>
                <c:pt idx="273">
                  <c:v>1645</c:v>
                </c:pt>
                <c:pt idx="274">
                  <c:v>1628</c:v>
                </c:pt>
                <c:pt idx="275">
                  <c:v>1638</c:v>
                </c:pt>
                <c:pt idx="276">
                  <c:v>1627</c:v>
                </c:pt>
                <c:pt idx="277">
                  <c:v>1642</c:v>
                </c:pt>
                <c:pt idx="278">
                  <c:v>1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80</c:f>
              <c:numCache>
                <c:formatCode>m/d/yyyy</c:formatCode>
                <c:ptCount val="27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</c:numCache>
            </c:numRef>
          </c:cat>
          <c:val>
            <c:numRef>
              <c:f>Sheet1!$C$2:$C$280</c:f>
              <c:numCache>
                <c:formatCode>#,##0</c:formatCode>
                <c:ptCount val="2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7.06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7616292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1784218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2528794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9915989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57288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065138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6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77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96</cp:revision>
  <dcterms:created xsi:type="dcterms:W3CDTF">2020-08-08T14:25:07Z</dcterms:created>
  <dcterms:modified xsi:type="dcterms:W3CDTF">2021-06-07T03:44:11Z</dcterms:modified>
</cp:coreProperties>
</file>